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7" r:id="rId2"/>
    <p:sldId id="266" r:id="rId3"/>
    <p:sldId id="265" r:id="rId4"/>
    <p:sldId id="260" r:id="rId5"/>
    <p:sldId id="268" r:id="rId6"/>
    <p:sldId id="269" r:id="rId7"/>
    <p:sldId id="270" r:id="rId8"/>
    <p:sldId id="271" r:id="rId9"/>
    <p:sldId id="272" r:id="rId10"/>
    <p:sldId id="273" r:id="rId11"/>
    <p:sldId id="274" r:id="rId1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>
        <p:scale>
          <a:sx n="75" d="100"/>
          <a:sy n="75" d="100"/>
        </p:scale>
        <p:origin x="256" y="20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D66CEB-278A-4F1E-8A6B-F94A82D666DD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5B04F6-66A1-4D07-853F-12EE71782A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0959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B83A3-E38B-A081-3631-C1337F7A5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37B45F-E433-3034-B2E0-3EA0D3A12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941B0-4936-7B67-D126-64715E689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E48C1ED-1BD7-90AE-5FCB-1A3AC525816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122210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020070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DD98D-B0D9-89D2-9630-EE0D6DCDF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051EAC4-79BD-EDE8-0BB9-1AE13C49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E2C8719-F7C2-AAD9-9671-7E51390462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550B382-5F07-BE0C-0ADC-8B3A71EF9C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61913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DD98D-B0D9-89D2-9630-EE0D6DCDF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051EAC4-79BD-EDE8-0BB9-1AE13C49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E2C8719-F7C2-AAD9-9671-7E51390462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550B382-5F07-BE0C-0ADC-8B3A71EF9C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655442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B83A3-E38B-A081-3631-C1337F7A5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37B45F-E433-3034-B2E0-3EA0D3A12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941B0-4936-7B67-D126-64715E689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E48C1ED-1BD7-90AE-5FCB-1A3AC525816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667435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166996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05036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70702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35633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96092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08271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7365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54166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9334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Índice - Cor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D454BD-3CF2-D969-DE4A-0AF6BA9CC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D454BD-3CF2-D969-DE4A-0AF6BA9CC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A8FCB8-2780-6C99-E9FA-647662FFE9E1}"/>
              </a:ext>
            </a:extLst>
          </p:cNvPr>
          <p:cNvCxnSpPr>
            <a:cxnSpLocks/>
          </p:cNvCxnSpPr>
          <p:nvPr userDrawn="1"/>
        </p:nvCxnSpPr>
        <p:spPr>
          <a:xfrm flipV="1">
            <a:off x="2096889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6BC131E-F13E-4A4E-2CB8-E110B0003A3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3775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5A2131-0258-D95F-F5B8-19FDBACC325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99992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D79059-6F36-BFA3-7DDC-C0893AD33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7946878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3A3459-4321-35B0-994B-CBD8A883F3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903093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926D6439-8725-39F1-4A28-9C2366C653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355" y="1167009"/>
            <a:ext cx="1621708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1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3DB7A62E-2BCA-D963-A460-1783D45222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21716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2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238FCE0-4BCC-E0F8-5E51-41C6FDE6D0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4357" y="1167010"/>
            <a:ext cx="1728000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3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2F639E73-924B-CDEB-8510-64566A67CB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6998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4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DECA4C82-8B07-D070-CE1B-E96A1D6742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9639" y="1158772"/>
            <a:ext cx="1728000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5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5BA8B66C-5412-698B-F516-A44B62FBE6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62759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6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E37D9BF6-ADF8-B12D-DABC-084AA557DD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354" y="2585149"/>
            <a:ext cx="1621708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E79B31AE-879A-F3D3-0223-72DE2A0026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56" y="2585149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1C07E858-A18A-B5A1-F4FC-ED46EDA794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21715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341CAE29-FF6A-BA8E-FA2D-95B59457F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6997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CBD99E4A-9937-9DAD-51BF-769B27DDF4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62759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D5A53FC6-34CD-D634-D1A6-D31DF8005B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9638" y="2585149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28" name="Marcador de pie de página 7">
            <a:extLst>
              <a:ext uri="{FF2B5EF4-FFF2-40B4-BE49-F238E27FC236}">
                <a16:creationId xmlns:a16="http://schemas.microsoft.com/office/drawing/2014/main" id="{D020836E-5240-E79E-F678-BC71B69F232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35360" y="6401514"/>
            <a:ext cx="7250933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it-IT"/>
              <a:t>INDRA GROUP • Nombre del documento • dd/mm/aaa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070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335360" y="549276"/>
            <a:ext cx="11521678" cy="87312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s-ES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INDRA GROUP • Nombre del documento • dd/mm/aaaa</a:t>
            </a:r>
            <a:endParaRPr lang="es-ES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9" y="1496513"/>
            <a:ext cx="11521679" cy="5197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Subtítulo de la diapositiva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5"/>
          </p:nvPr>
        </p:nvSpPr>
        <p:spPr>
          <a:xfrm>
            <a:off x="334962" y="2250332"/>
            <a:ext cx="11522075" cy="35865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60" y="323548"/>
            <a:ext cx="11521678" cy="17265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11472672" y="6401514"/>
            <a:ext cx="383968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5519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59009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4599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5684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30914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9347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2990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8652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65365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AB35B-FF68-41B3-BCAE-95B62D564C07}" type="datetimeFigureOut">
              <a:rPr lang="es-ES" smtClean="0"/>
              <a:t>19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9324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56630-E031-86C6-F415-55C8706B7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189E9D-0221-A655-09EB-51FAB4B59C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5" y="1167009"/>
            <a:ext cx="1621708" cy="1402430"/>
          </a:xfrm>
        </p:spPr>
        <p:txBody>
          <a:bodyPr/>
          <a:lstStyle/>
          <a:p>
            <a:r>
              <a:rPr lang="es-ES" noProof="1">
                <a:solidFill>
                  <a:srgbClr val="FFC000"/>
                </a:solidFill>
              </a:rPr>
              <a:t>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6FA14-F4A3-9E89-D4E0-61939D99DE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21716" y="3391225"/>
            <a:ext cx="1728000" cy="1463269"/>
          </a:xfrm>
        </p:spPr>
        <p:txBody>
          <a:bodyPr/>
          <a:lstStyle/>
          <a:p>
            <a:r>
              <a:rPr lang="es-ES" noProof="1"/>
              <a:t>0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06241-6A58-A4FB-B8AD-C1965A6FC6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0354" y="2585149"/>
            <a:ext cx="1621708" cy="893762"/>
          </a:xfrm>
        </p:spPr>
        <p:txBody>
          <a:bodyPr/>
          <a:lstStyle/>
          <a:p>
            <a:r>
              <a:rPr lang="es-ES" noProof="1" smtClean="0">
                <a:solidFill>
                  <a:srgbClr val="FFC000"/>
                </a:solidFill>
              </a:rPr>
              <a:t>ROADMAP</a:t>
            </a:r>
            <a:endParaRPr lang="es-ES" noProof="1">
              <a:solidFill>
                <a:srgbClr val="FFC000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09D86A-0B0F-BC71-787B-BCE72F426C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21715" y="4870204"/>
            <a:ext cx="1728000" cy="893762"/>
          </a:xfrm>
        </p:spPr>
        <p:txBody>
          <a:bodyPr/>
          <a:lstStyle/>
          <a:p>
            <a:r>
              <a:rPr lang="es-ES" noProof="1" smtClean="0"/>
              <a:t>ROADMAP PHASES</a:t>
            </a:r>
            <a:endParaRPr lang="es-ES" noProof="1"/>
          </a:p>
          <a:p>
            <a:endParaRPr lang="es-ES" noProof="1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97972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Validation or Acceptance Testing confirms that the complete and final system meets the original customer requirements and expectations, evaluating the product from the user's perspective in a real operational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environment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. </a:t>
            </a:r>
            <a:endParaRPr lang="es-ES" dirty="0" smtClean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output is the validated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product ready for delivery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, along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with a formal acceptance report and customer approval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, which authorizes the design closure and the transition to production and maintenance of the product or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system.</a:t>
            </a:r>
            <a:endParaRPr lang="es-ES" dirty="0" smtClean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/>
              <a:t>VALIDATION OR ACCEPTANCE </a:t>
            </a:r>
            <a:r>
              <a:rPr lang="es-ES" sz="2000" b="1" dirty="0" smtClean="0"/>
              <a:t>TESTING</a:t>
            </a:r>
            <a:endParaRPr lang="es-ES" sz="2000" b="1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1286" y="4491659"/>
            <a:ext cx="5040000" cy="2366341"/>
          </a:xfrm>
          <a:prstGeom prst="rect">
            <a:avLst/>
          </a:prstGeom>
        </p:spPr>
      </p:pic>
      <p:sp>
        <p:nvSpPr>
          <p:cNvPr id="13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8313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F5903-785F-2B93-B873-E045471C3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4826E0-1CB6-1F25-87B4-8D7C29510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4826E0-1CB6-1F25-87B4-8D7C29510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  <p:sp>
        <p:nvSpPr>
          <p:cNvPr id="9" name="Título 5">
            <a:extLst>
              <a:ext uri="{FF2B5EF4-FFF2-40B4-BE49-F238E27FC236}">
                <a16:creationId xmlns:a16="http://schemas.microsoft.com/office/drawing/2014/main" id="{95D69210-2562-3277-5065-E16C5BDCA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161" y="543074"/>
            <a:ext cx="11521678" cy="873124"/>
          </a:xfrm>
        </p:spPr>
        <p:txBody>
          <a:bodyPr vert="horz"/>
          <a:lstStyle/>
          <a:p>
            <a:r>
              <a:rPr lang="es-ES" dirty="0">
                <a:solidFill>
                  <a:srgbClr val="FFC000"/>
                </a:solidFill>
              </a:rPr>
              <a:t>ROADMAP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6073230" y="6249267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Implementatio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77914" y="2759096"/>
            <a:ext cx="2014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>
                <a:solidFill>
                  <a:srgbClr val="0E2841"/>
                </a:solidFill>
                <a:latin typeface="ForFuture Sans" panose="020B0504020203020204" pitchFamily="34" charset="0"/>
              </a:rPr>
              <a:t>Requirements</a:t>
            </a:r>
            <a:r>
              <a:rPr lang="es-ES" sz="1400" b="1" dirty="0">
                <a:solidFill>
                  <a:srgbClr val="0E2841"/>
                </a:solidFill>
                <a:latin typeface="ForFuture Sans" panose="020B0504020203020204" pitchFamily="34" charset="0"/>
              </a:rPr>
              <a:t> Management 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629" y="1200569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BC2B94-B241-BC8F-D9F7-3C145E568F8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1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547" y="2600911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971034" y="5320344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Critical</a:t>
            </a: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sig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729" y="3946370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769" y="5025325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476" y="139372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89" y="273360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983" y="3951473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072910" y="4137373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Preliminary</a:t>
            </a: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sig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7382840" y="5353059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Unit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8547476" y="4206195"/>
            <a:ext cx="27682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Integration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9682099" y="2726893"/>
            <a:ext cx="23937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Validation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or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Acceptance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77915" y="2764097"/>
            <a:ext cx="1822448" cy="518219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8987637" y="4209885"/>
            <a:ext cx="1824822" cy="516327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584877" y="4217192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1372013" y="5405830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6495279" y="6323435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6" name="Rectángulo 25"/>
          <p:cNvSpPr/>
          <p:nvPr/>
        </p:nvSpPr>
        <p:spPr>
          <a:xfrm>
            <a:off x="7753479" y="5319287"/>
            <a:ext cx="2101697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7482255" y="2750714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8" name="Elipse 27"/>
          <p:cNvSpPr/>
          <p:nvPr/>
        </p:nvSpPr>
        <p:spPr>
          <a:xfrm>
            <a:off x="2435035" y="2648029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9" name="Elipse 28"/>
          <p:cNvSpPr/>
          <p:nvPr/>
        </p:nvSpPr>
        <p:spPr>
          <a:xfrm>
            <a:off x="3417345" y="3993488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0" name="Elipse 29"/>
          <p:cNvSpPr/>
          <p:nvPr/>
        </p:nvSpPr>
        <p:spPr>
          <a:xfrm>
            <a:off x="4803232" y="5071932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1" name="Elipse 30"/>
          <p:cNvSpPr/>
          <p:nvPr/>
        </p:nvSpPr>
        <p:spPr>
          <a:xfrm>
            <a:off x="6153285" y="3966162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2" name="Elipse 31"/>
          <p:cNvSpPr/>
          <p:nvPr/>
        </p:nvSpPr>
        <p:spPr>
          <a:xfrm>
            <a:off x="1461906" y="1220361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19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F5903-785F-2B93-B873-E045471C3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4826E0-1CB6-1F25-87B4-8D7C29510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4826E0-1CB6-1F25-87B4-8D7C29510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  <p:sp>
        <p:nvSpPr>
          <p:cNvPr id="9" name="Título 5">
            <a:extLst>
              <a:ext uri="{FF2B5EF4-FFF2-40B4-BE49-F238E27FC236}">
                <a16:creationId xmlns:a16="http://schemas.microsoft.com/office/drawing/2014/main" id="{95D69210-2562-3277-5065-E16C5BDCA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161" y="543074"/>
            <a:ext cx="11521678" cy="873124"/>
          </a:xfrm>
        </p:spPr>
        <p:txBody>
          <a:bodyPr vert="horz"/>
          <a:lstStyle/>
          <a:p>
            <a:r>
              <a:rPr lang="es-ES" dirty="0">
                <a:solidFill>
                  <a:srgbClr val="FFC000"/>
                </a:solidFill>
              </a:rPr>
              <a:t>ROADMAP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6073230" y="6249267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Implementatio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77914" y="2759096"/>
            <a:ext cx="2014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>
                <a:solidFill>
                  <a:srgbClr val="0E2841"/>
                </a:solidFill>
                <a:latin typeface="ForFuture Sans" panose="020B0504020203020204" pitchFamily="34" charset="0"/>
              </a:rPr>
              <a:t>Requirements</a:t>
            </a:r>
            <a:r>
              <a:rPr lang="es-ES" sz="1400" b="1" dirty="0">
                <a:solidFill>
                  <a:srgbClr val="0E2841"/>
                </a:solidFill>
                <a:latin typeface="ForFuture Sans" panose="020B0504020203020204" pitchFamily="34" charset="0"/>
              </a:rPr>
              <a:t> Management 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629" y="1200569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BC2B94-B241-BC8F-D9F7-3C145E568F8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1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547" y="2600911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971034" y="5320344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Critical</a:t>
            </a: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sig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729" y="3946370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769" y="5025325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476" y="139372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89" y="273360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983" y="3951473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072910" y="4137373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Preliminary</a:t>
            </a: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sig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7382840" y="5353059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Unit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8547476" y="4206195"/>
            <a:ext cx="27682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Integration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9682099" y="2726893"/>
            <a:ext cx="23937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Validation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or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Acceptance</a:t>
            </a: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r>
              <a:rPr lang="es-ES" sz="1400" b="1" dirty="0" err="1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13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56630-E031-86C6-F415-55C8706B7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189E9D-0221-A655-09EB-51FAB4B59C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5" y="1167009"/>
            <a:ext cx="1621708" cy="1402430"/>
          </a:xfrm>
        </p:spPr>
        <p:txBody>
          <a:bodyPr/>
          <a:lstStyle/>
          <a:p>
            <a:r>
              <a:rPr lang="es-ES" noProof="1"/>
              <a:t>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6FA14-F4A3-9E89-D4E0-61939D99DE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21716" y="3391225"/>
            <a:ext cx="1728000" cy="1463269"/>
          </a:xfrm>
        </p:spPr>
        <p:txBody>
          <a:bodyPr/>
          <a:lstStyle/>
          <a:p>
            <a:r>
              <a:rPr lang="es-ES" noProof="1">
                <a:solidFill>
                  <a:srgbClr val="FFC000"/>
                </a:solidFill>
              </a:rPr>
              <a:t>0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06241-6A58-A4FB-B8AD-C1965A6FC6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0354" y="2585149"/>
            <a:ext cx="1621708" cy="893762"/>
          </a:xfrm>
        </p:spPr>
        <p:txBody>
          <a:bodyPr/>
          <a:lstStyle/>
          <a:p>
            <a:r>
              <a:rPr lang="es-ES" noProof="1" smtClean="0"/>
              <a:t>ROADMAP</a:t>
            </a:r>
            <a:endParaRPr lang="es-ES" noProof="1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09D86A-0B0F-BC71-787B-BCE72F426C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21715" y="4870204"/>
            <a:ext cx="1728000" cy="893762"/>
          </a:xfrm>
        </p:spPr>
        <p:txBody>
          <a:bodyPr/>
          <a:lstStyle/>
          <a:p>
            <a:r>
              <a:rPr lang="es-ES" noProof="1" smtClean="0">
                <a:solidFill>
                  <a:srgbClr val="FFC000"/>
                </a:solidFill>
              </a:rPr>
              <a:t>ROADMAP PHASES</a:t>
            </a:r>
            <a:endParaRPr lang="es-ES" noProof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194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system's capabilities, features, and constraints are defined and documented, translating customer needs into technical specifications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expected output is a formal requirements specification document (such as an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HR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or </a:t>
            </a:r>
            <a:r>
              <a:rPr lang="en-US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SRS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) 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at serves as a contractual basis and a guide for design and verification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/>
              <a:t>REQUIREMENTS MANAGEMENT</a:t>
            </a:r>
            <a:endParaRPr lang="es-ES" sz="2000" b="1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1874" y="4494219"/>
            <a:ext cx="5040000" cy="236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186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Preliminary Design breaks down the requirements into a high-level architecture, defining the main functional blocks of the system, their interfaces, and how they interconnect to meet the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specifications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.</a:t>
            </a: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expected output is the documentation for the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Preliminary Design Review (PDR), 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which freezes the architecture and authorizes the transition to the detailed design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PRELIMINARY DESIGN</a:t>
            </a:r>
            <a:endParaRPr lang="es-ES" sz="2000" b="1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1385" y="4494219"/>
            <a:ext cx="5040000" cy="2363781"/>
          </a:xfrm>
          <a:prstGeom prst="rect">
            <a:avLst/>
          </a:prstGeom>
        </p:spPr>
      </p:pic>
      <p:sp>
        <p:nvSpPr>
          <p:cNvPr id="10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7028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Detailed Design transforms the system architecture into a complete, low-level specification, creating the schematics and PCB layout for the hardware, and defining the final software architecture with its modules and interfaces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expected output is the complete design package, which includes the hardware manufacturing files and detailed software documentation, ready for the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Critical Design Review (CDR)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that authorizes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implementation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DETAILED DESIGN</a:t>
            </a:r>
            <a:endParaRPr lang="es-ES" sz="2000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1875" y="4494219"/>
            <a:ext cx="5040000" cy="2363781"/>
          </a:xfrm>
          <a:prstGeom prst="rect">
            <a:avLst/>
          </a:prstGeom>
        </p:spPr>
      </p:pic>
      <p:sp>
        <p:nvSpPr>
          <p:cNvPr id="12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478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Implementation is the phase in which the actual product is built, manufacturing and assembling the hardware prototypes and writing the software source code based on the detailed design specifications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output of this phase is functional hardware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prototype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and coded and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compiled software module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, ready to be individually verified in unit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tests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IMPLEMENTATION</a:t>
            </a:r>
            <a:endParaRPr lang="es-ES" sz="2000" b="1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1280" y="4494219"/>
            <a:ext cx="5040000" cy="2363781"/>
          </a:xfrm>
          <a:prstGeom prst="rect">
            <a:avLst/>
          </a:prstGeom>
        </p:spPr>
      </p:pic>
      <p:sp>
        <p:nvSpPr>
          <p:cNvPr id="39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4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48633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In unit testing, each minimal component of the system is verified in isolation: in hardware, the initial power-up and circuit check (bring-up) is performed, and in software, the behavior of each function or module is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validated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.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output is a set of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individually validated hardware 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components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and software module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, along with their test reports, demonstrating that each part works correctly before being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integrated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UNIT TESTING</a:t>
            </a:r>
            <a:endParaRPr lang="es-ES" sz="2000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1281" y="4491659"/>
            <a:ext cx="5040000" cy="2366341"/>
          </a:xfrm>
          <a:prstGeom prst="rect">
            <a:avLst/>
          </a:prstGeom>
        </p:spPr>
      </p:pic>
      <p:sp>
        <p:nvSpPr>
          <p:cNvPr id="12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82635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Integration Testing combines and verifies the software modules and hardware components that have already been unit-tested, in order to ensure that their interfaces and their joint interaction work correctly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e expected output is an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integrated and stable hardware/software subsystem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, along with an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integration report 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that documents the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test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performed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and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the </a:t>
            </a:r>
            <a:r>
              <a:rPr lang="en-US" b="1" dirty="0">
                <a:solidFill>
                  <a:srgbClr val="0E2841"/>
                </a:solidFill>
                <a:latin typeface="ForFuture Sans" panose="020B0504020203020204" pitchFamily="34" charset="0"/>
              </a:rPr>
              <a:t>defects</a:t>
            </a:r>
            <a:r>
              <a:rPr lang="en-US" dirty="0">
                <a:solidFill>
                  <a:srgbClr val="0E2841"/>
                </a:solidFill>
                <a:latin typeface="ForFuture Sans" panose="020B0504020203020204" pitchFamily="34" charset="0"/>
              </a:rPr>
              <a:t> found, leaving the system ready for validation </a:t>
            </a:r>
            <a:r>
              <a:rPr lang="en-U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testing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/>
              <a:t>I</a:t>
            </a:r>
            <a:r>
              <a:rPr lang="es-ES" sz="2000" b="1" dirty="0" smtClean="0"/>
              <a:t>NTEGRATION TESTING</a:t>
            </a:r>
            <a:endParaRPr lang="es-ES" sz="2000" b="1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91659"/>
            <a:ext cx="5040000" cy="2366341"/>
          </a:xfrm>
          <a:prstGeom prst="rect">
            <a:avLst/>
          </a:prstGeom>
        </p:spPr>
      </p:pic>
      <p:sp>
        <p:nvSpPr>
          <p:cNvPr id="13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ROADMAP PHASES</a:t>
            </a:r>
            <a:endParaRPr lang="es-ES" dirty="0"/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n-US" dirty="0" err="1" smtClean="0"/>
              <a:t>datalaria</a:t>
            </a:r>
            <a:r>
              <a:rPr lang="en-US" dirty="0" smtClean="0"/>
              <a:t> </a:t>
            </a:r>
            <a:r>
              <a:rPr lang="en-US" dirty="0"/>
              <a:t>– USE CASE EFFECTIVE COMMUNICATION IN ENGINEERING WITH </a:t>
            </a:r>
            <a:r>
              <a:rPr lang="en-US" dirty="0" err="1"/>
              <a:t>nanobanana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6162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9</TotalTime>
  <Words>1940</Words>
  <Application>Microsoft Office PowerPoint</Application>
  <PresentationFormat>Panorámica</PresentationFormat>
  <Paragraphs>171</Paragraphs>
  <Slides>11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ForFuture Sans</vt:lpstr>
      <vt:lpstr>Wingdings</vt:lpstr>
      <vt:lpstr>Tema de Office</vt:lpstr>
      <vt:lpstr>Diapositiva de think-cell</vt:lpstr>
      <vt:lpstr>Presentación de PowerPoint</vt:lpstr>
      <vt:lpstr>ROADMAP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OAD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aniel Alaez Riaño</dc:creator>
  <cp:lastModifiedBy>Daniel Alaez Riaño</cp:lastModifiedBy>
  <cp:revision>10</cp:revision>
  <dcterms:created xsi:type="dcterms:W3CDTF">2025-09-17T06:02:44Z</dcterms:created>
  <dcterms:modified xsi:type="dcterms:W3CDTF">2025-09-19T06:03:02Z</dcterms:modified>
</cp:coreProperties>
</file>